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94" r:id="rId2"/>
    <p:sldId id="295" r:id="rId3"/>
    <p:sldId id="297" r:id="rId4"/>
    <p:sldId id="298" r:id="rId5"/>
    <p:sldId id="291" r:id="rId6"/>
    <p:sldId id="284" r:id="rId7"/>
    <p:sldId id="274" r:id="rId8"/>
  </p:sldIdLst>
  <p:sldSz cx="9144000" cy="6858000" type="screen4x3"/>
  <p:notesSz cx="6797675" cy="987266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Tema Uygulanmış Stil 2 - Vurgu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Koyu Stil 1 - Vurgu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Koyu Stil 1 - Vurgu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Orta Stil 3 - Vurgu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Açık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670" autoAdjust="0"/>
  </p:normalViewPr>
  <p:slideViewPr>
    <p:cSldViewPr>
      <p:cViewPr varScale="1">
        <p:scale>
          <a:sx n="86" d="100"/>
          <a:sy n="86" d="100"/>
        </p:scale>
        <p:origin x="1122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r">
              <a:defRPr sz="1200"/>
            </a:lvl1pPr>
          </a:lstStyle>
          <a:p>
            <a:fld id="{E97D8D04-8981-4AE4-B55B-41189C458C08}" type="datetimeFigureOut">
              <a:rPr lang="tr-TR" smtClean="0"/>
              <a:pPr/>
              <a:t>20.03.2023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6" tIns="45583" rIns="91166" bIns="45583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51218"/>
            <a:ext cx="5438140" cy="3887362"/>
          </a:xfrm>
          <a:prstGeom prst="rect">
            <a:avLst/>
          </a:prstGeom>
        </p:spPr>
        <p:txBody>
          <a:bodyPr vert="horz" lIns="91166" tIns="45583" rIns="91166" bIns="45583" rtlCol="0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r">
              <a:defRPr sz="1200"/>
            </a:lvl1pPr>
          </a:lstStyle>
          <a:p>
            <a:fld id="{E7A174EC-FB91-48F8-B92F-CDCA85A4AB9F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529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2158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2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/>
              <a:t>Asıl alt başlık stil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0.03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83450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0.03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4490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0.03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81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0.03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2282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0.03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171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0.03.2023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427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0.03.2023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9159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0.03.2023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564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0.03.2023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560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0.03.2023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43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0.03.2023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2380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09FF9-1140-4B00-BC12-214F505C40B3}" type="datetimeFigureOut">
              <a:rPr lang="tr-TR" smtClean="0"/>
              <a:pPr/>
              <a:t>20.03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511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gif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-540567" y="116632"/>
            <a:ext cx="9684568" cy="1472259"/>
            <a:chOff x="1199957" y="162167"/>
            <a:chExt cx="7699376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6382" y="182985"/>
              <a:ext cx="1001713" cy="638175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87333" y="232991"/>
              <a:ext cx="7045325" cy="538162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9957" y="360604"/>
              <a:ext cx="7632700" cy="291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.C.</a:t>
              </a:r>
            </a:p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SMANİYE VALİLİĞİ</a:t>
              </a:r>
              <a:endParaRPr lang="en-US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10"/>
          <p:cNvSpPr txBox="1"/>
          <p:nvPr/>
        </p:nvSpPr>
        <p:spPr>
          <a:xfrm>
            <a:off x="33431" y="2489339"/>
            <a:ext cx="89573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URUM ADI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ve varsa LOGO)</a:t>
            </a:r>
          </a:p>
          <a:p>
            <a:pPr algn="ctr"/>
            <a:endParaRPr lang="tr-TR" sz="3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İL KOORDİNASYON KURULU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2. TOPLANTISI       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27  NİSAN 2023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ERŞEMBE</a:t>
            </a: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" y="270116"/>
            <a:ext cx="1142530" cy="1142113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76" y="215070"/>
            <a:ext cx="1286782" cy="128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6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5858330"/>
              </p:ext>
            </p:extLst>
          </p:nvPr>
        </p:nvGraphicFramePr>
        <p:xfrm>
          <a:off x="51891" y="836712"/>
          <a:ext cx="9092108" cy="5190675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3787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9815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. 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ölge/İl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üdürlüğü</a:t>
                      </a:r>
                      <a:r>
                        <a:rPr lang="tr-TR" sz="12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100" b="1" u="none" strike="noStrike" kern="1200" baseline="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3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Genel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341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Tut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Ödenek Durumları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erkezi Bütç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sv-SE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2981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z Kaynak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4659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ış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59930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ç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21209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ib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15065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3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ı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oplam Ödeneği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82363"/>
                  </a:ext>
                </a:extLst>
              </a:tr>
              <a:tr h="25006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Parasal</a:t>
                      </a:r>
                      <a:r>
                        <a:rPr lang="tr-TR" sz="1100" b="1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çekleşme</a:t>
                      </a:r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nceki Yıllar Harcamal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2023 Yılı Harcamas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4146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 Harcama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arasal Gerçekleşme (Yüzde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2601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Fiziki Gerçekleşme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aşlanamay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hale Aşamasındaki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arım Kal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evam Ed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it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r>
                        <a:rPr lang="tr-TR" sz="11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cı Kuruluş Dönem Raporu</a:t>
            </a:r>
          </a:p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3 1. YILI DÖNEMİ)</a:t>
            </a:r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698594"/>
              </p:ext>
            </p:extLst>
          </p:nvPr>
        </p:nvGraphicFramePr>
        <p:xfrm>
          <a:off x="78932" y="6093277"/>
          <a:ext cx="8948301" cy="3559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48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98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 </a:t>
                      </a:r>
                      <a:r>
                        <a:rPr lang="tr-TR" sz="1000" b="1" i="0" u="none" strike="noStrike" baseline="0" dirty="0">
                          <a:solidFill>
                            <a:srgbClr val="00B0F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ları için; Tarım, Madencilik, İmalat, Ulaştırma, Turizm, Konut,  Eğitim, Sağlık, Diğer Kamu Hizmetleri 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rgbClr val="00B0F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646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Yuvarlatılmış Dikdörtgen 12"/>
          <p:cNvSpPr/>
          <p:nvPr/>
        </p:nvSpPr>
        <p:spPr>
          <a:xfrm>
            <a:off x="0" y="47843"/>
            <a:ext cx="9143999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 Projeleri İzleme Raporu</a:t>
            </a:r>
          </a:p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3 1. YILI DÖNEM )</a:t>
            </a: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670092"/>
              </p:ext>
            </p:extLst>
          </p:nvPr>
        </p:nvGraphicFramePr>
        <p:xfrm>
          <a:off x="107500" y="879429"/>
          <a:ext cx="8928995" cy="5454688"/>
        </p:xfrm>
        <a:graphic>
          <a:graphicData uri="http://schemas.openxmlformats.org/drawingml/2006/table">
            <a:tbl>
              <a:tblPr/>
              <a:tblGrid>
                <a:gridCol w="669400">
                  <a:extLst>
                    <a:ext uri="{9D8B030D-6E8A-4147-A177-3AD203B41FA5}">
                      <a16:colId xmlns:a16="http://schemas.microsoft.com/office/drawing/2014/main" val="3919883195"/>
                    </a:ext>
                  </a:extLst>
                </a:gridCol>
                <a:gridCol w="1799699">
                  <a:extLst>
                    <a:ext uri="{9D8B030D-6E8A-4147-A177-3AD203B41FA5}">
                      <a16:colId xmlns:a16="http://schemas.microsoft.com/office/drawing/2014/main" val="1179629219"/>
                    </a:ext>
                  </a:extLst>
                </a:gridCol>
                <a:gridCol w="685860">
                  <a:extLst>
                    <a:ext uri="{9D8B030D-6E8A-4147-A177-3AD203B41FA5}">
                      <a16:colId xmlns:a16="http://schemas.microsoft.com/office/drawing/2014/main" val="443924026"/>
                    </a:ext>
                  </a:extLst>
                </a:gridCol>
                <a:gridCol w="806573">
                  <a:extLst>
                    <a:ext uri="{9D8B030D-6E8A-4147-A177-3AD203B41FA5}">
                      <a16:colId xmlns:a16="http://schemas.microsoft.com/office/drawing/2014/main" val="1995520928"/>
                    </a:ext>
                  </a:extLst>
                </a:gridCol>
                <a:gridCol w="819375">
                  <a:extLst>
                    <a:ext uri="{9D8B030D-6E8A-4147-A177-3AD203B41FA5}">
                      <a16:colId xmlns:a16="http://schemas.microsoft.com/office/drawing/2014/main" val="3450176581"/>
                    </a:ext>
                  </a:extLst>
                </a:gridCol>
                <a:gridCol w="790112">
                  <a:extLst>
                    <a:ext uri="{9D8B030D-6E8A-4147-A177-3AD203B41FA5}">
                      <a16:colId xmlns:a16="http://schemas.microsoft.com/office/drawing/2014/main" val="3287352556"/>
                    </a:ext>
                  </a:extLst>
                </a:gridCol>
                <a:gridCol w="795598">
                  <a:extLst>
                    <a:ext uri="{9D8B030D-6E8A-4147-A177-3AD203B41FA5}">
                      <a16:colId xmlns:a16="http://schemas.microsoft.com/office/drawing/2014/main" val="314582360"/>
                    </a:ext>
                  </a:extLst>
                </a:gridCol>
                <a:gridCol w="618163">
                  <a:extLst>
                    <a:ext uri="{9D8B030D-6E8A-4147-A177-3AD203B41FA5}">
                      <a16:colId xmlns:a16="http://schemas.microsoft.com/office/drawing/2014/main" val="309060706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969679353"/>
                    </a:ext>
                  </a:extLst>
                </a:gridCol>
                <a:gridCol w="846896">
                  <a:extLst>
                    <a:ext uri="{9D8B030D-6E8A-4147-A177-3AD203B41FA5}">
                      <a16:colId xmlns:a16="http://schemas.microsoft.com/office/drawing/2014/main" val="3705440588"/>
                    </a:ext>
                  </a:extLst>
                </a:gridCol>
                <a:gridCol w="521255">
                  <a:extLst>
                    <a:ext uri="{9D8B030D-6E8A-4147-A177-3AD203B41FA5}">
                      <a16:colId xmlns:a16="http://schemas.microsoft.com/office/drawing/2014/main" val="3073909584"/>
                    </a:ext>
                  </a:extLst>
                </a:gridCol>
              </a:tblGrid>
              <a:tr h="717366">
                <a:tc gridSpan="11">
                  <a:txBody>
                    <a:bodyPr/>
                    <a:lstStyle/>
                    <a:p>
                      <a:pPr algn="ctr" fontAlgn="ctr"/>
                      <a:r>
                        <a:rPr lang="nn-N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LYAS YATIRIM TAKİP FORMU (EK-1)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304291"/>
                  </a:ext>
                </a:extLst>
              </a:tr>
              <a:tr h="1285844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Numarası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Ad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Yer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Tutar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nceki Yıllar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 Yılı Ödeneğ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önem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ziki </a:t>
                      </a:r>
                    </a:p>
                    <a:p>
                      <a:pPr algn="ctr" fontAlgn="ctr"/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</a:p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kdi </a:t>
                      </a:r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Durumu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Fotoğrafı Sisteme Yüklendi mi?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63865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69225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4592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335656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41196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712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46789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674331"/>
                  </a:ext>
                </a:extLst>
              </a:tr>
              <a:tr h="51434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408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766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210277"/>
              </p:ext>
            </p:extLst>
          </p:nvPr>
        </p:nvGraphicFramePr>
        <p:xfrm>
          <a:off x="107504" y="1007603"/>
          <a:ext cx="4320480" cy="509743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969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9278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Adı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No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Sektörü</a:t>
                      </a:r>
                      <a:r>
                        <a:rPr lang="tr-TR" sz="1050" b="1" u="none" strike="noStrike" baseline="0" dirty="0">
                          <a:effectLst/>
                        </a:rPr>
                        <a:t> ve Alt Sektörü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Yeri (İlçe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Başlama - Bitiş Tarihi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Bedeli (TL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Önceki Yıllar Harcamaları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3 Yıl İçi Harcama </a:t>
                      </a:r>
                      <a:r>
                        <a:rPr lang="tr-TR" sz="1050" b="1" u="none" strike="noStrike" kern="1200" dirty="0">
                          <a:effectLst/>
                        </a:rPr>
                        <a:t>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2023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</a:t>
                      </a:r>
                      <a:r>
                        <a:rPr lang="tr-TR" sz="1050" b="1" u="none" strike="noStrike" kern="1200" dirty="0">
                          <a:effectLst/>
                        </a:rPr>
                        <a:t>Yılı Ödeneği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Nakd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Fizik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678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nin Bugünkü Durumu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3951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Özet Bilgisi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78608">
                <a:tc gridSpan="2">
                  <a:txBody>
                    <a:bodyPr/>
                    <a:lstStyle/>
                    <a:p>
                      <a:pPr algn="just" fontAlgn="b"/>
                      <a:endParaRPr lang="tr-TR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18078"/>
              </p:ext>
            </p:extLst>
          </p:nvPr>
        </p:nvGraphicFramePr>
        <p:xfrm>
          <a:off x="4618484" y="1007601"/>
          <a:ext cx="4320480" cy="509744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60797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6644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5220072" y="2073661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022136"/>
              </p:ext>
            </p:extLst>
          </p:nvPr>
        </p:nvGraphicFramePr>
        <p:xfrm>
          <a:off x="107504" y="6165304"/>
          <a:ext cx="8831460" cy="288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31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BU SLAYT</a:t>
                      </a:r>
                      <a:r>
                        <a:rPr lang="tr-TR" sz="10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" y="44624"/>
            <a:ext cx="9134474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9" name="Metin kutusu 18"/>
          <p:cNvSpPr txBox="1"/>
          <p:nvPr/>
        </p:nvSpPr>
        <p:spPr>
          <a:xfrm>
            <a:off x="5220072" y="4140369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</p:spTree>
    <p:extLst>
      <p:ext uri="{BB962C8B-B14F-4D97-AF65-F5344CB8AC3E}">
        <p14:creationId xmlns:p14="http://schemas.microsoft.com/office/powerpoint/2010/main" val="1326893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19472" y="151385"/>
            <a:ext cx="9144000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30876"/>
              </p:ext>
            </p:extLst>
          </p:nvPr>
        </p:nvGraphicFramePr>
        <p:xfrm>
          <a:off x="107504" y="1052737"/>
          <a:ext cx="9036496" cy="5400867"/>
        </p:xfrm>
        <a:graphic>
          <a:graphicData uri="http://schemas.openxmlformats.org/drawingml/2006/table">
            <a:tbl>
              <a:tblPr/>
              <a:tblGrid>
                <a:gridCol w="9036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e Başlanamama  ve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amamlanamama </a:t>
                      </a: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Çözümlenmesi İstenen Sorun ve Darboğazla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orun ve Darboğaz 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lınması İstenen Önlemle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90511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 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56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ektiren Kurum/Kuruluşları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Dikdörtgen 10"/>
          <p:cNvSpPr/>
          <p:nvPr/>
        </p:nvSpPr>
        <p:spPr>
          <a:xfrm>
            <a:off x="323528" y="300271"/>
            <a:ext cx="7932818" cy="383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tr-TR" b="1" kern="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orunlar, İhtiyaçlar ve Koordinasyon Gerektiren Hususlar</a:t>
            </a:r>
          </a:p>
        </p:txBody>
      </p:sp>
      <p:sp>
        <p:nvSpPr>
          <p:cNvPr id="12" name="11 Metin kutusu"/>
          <p:cNvSpPr txBox="1"/>
          <p:nvPr/>
        </p:nvSpPr>
        <p:spPr>
          <a:xfrm>
            <a:off x="662382" y="1340768"/>
            <a:ext cx="392909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t"/>
            <a:r>
              <a:rPr lang="tr-TR" sz="900" b="1" dirty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OT: İlgili proje  numarası ve adı belirtilmesi gerekmektedir.</a:t>
            </a:r>
          </a:p>
        </p:txBody>
      </p:sp>
      <p:sp>
        <p:nvSpPr>
          <p:cNvPr id="13" name="Metin kutusu 12"/>
          <p:cNvSpPr txBox="1"/>
          <p:nvPr/>
        </p:nvSpPr>
        <p:spPr>
          <a:xfrm>
            <a:off x="8047364" y="314381"/>
            <a:ext cx="75385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4</a:t>
            </a:r>
          </a:p>
        </p:txBody>
      </p:sp>
    </p:spTree>
    <p:extLst>
      <p:ext uri="{BB962C8B-B14F-4D97-AF65-F5344CB8AC3E}">
        <p14:creationId xmlns:p14="http://schemas.microsoft.com/office/powerpoint/2010/main" val="2202122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35496" y="165721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43163" y="328717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Sektörler ve Alt Sektörleri</a:t>
            </a:r>
          </a:p>
        </p:txBody>
      </p:sp>
      <p:graphicFrame>
        <p:nvGraphicFramePr>
          <p:cNvPr id="13" name="12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282298"/>
              </p:ext>
            </p:extLst>
          </p:nvPr>
        </p:nvGraphicFramePr>
        <p:xfrm>
          <a:off x="428596" y="1071546"/>
          <a:ext cx="2214578" cy="53181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57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Tarı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lam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itkisel Ürü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yv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 Ürün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Orm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Madencili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adenci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mü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m Petrol ve Tabii Gaz Üretim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etal Dışı Made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İmala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Gıd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ütün ve Mamul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okuma ve Giyim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asım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imy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-Çe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siz Makine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li Makin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yolu Taşıt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tandardizasyon ve Kalit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 Enerji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erm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idroelektr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İleti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ağıtı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Şehir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y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İşletme Grubu Yatırımları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Makine ve Techizat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Çeşitli Etütler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</a:tbl>
          </a:graphicData>
        </a:graphic>
      </p:graphicFrame>
      <p:graphicFrame>
        <p:nvGraphicFramePr>
          <p:cNvPr id="15" name="14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017724"/>
              </p:ext>
            </p:extLst>
          </p:nvPr>
        </p:nvGraphicFramePr>
        <p:xfrm>
          <a:off x="3000364" y="1071546"/>
          <a:ext cx="2214578" cy="537512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32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1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Ulaştırma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mir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niz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v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ar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oru Hatt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ent İçi Ulaşı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be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adyo Televiz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toyol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302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Eğiti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lköğretim ve Gen. Orta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esleki ve Teknik Eği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üksek 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ültü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çlik ve Beden Eğitimi Spo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9344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6" name="15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627306"/>
              </p:ext>
            </p:extLst>
          </p:nvPr>
        </p:nvGraphicFramePr>
        <p:xfrm>
          <a:off x="5429256" y="1071546"/>
          <a:ext cx="2815152" cy="538179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65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8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2154">
                <a:tc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iğer</a:t>
                      </a:r>
                      <a:r>
                        <a:rPr lang="tr-TR" sz="900" b="1" i="0" u="none" strike="noStrike" baseline="0" dirty="0">
                          <a:solidFill>
                            <a:srgbClr val="FF0000"/>
                          </a:solidFill>
                          <a:latin typeface="+mn-lt"/>
                        </a:rPr>
                        <a:t> Kamu Hizmetleri (DKH-İktisadı+DKH-Sosyal)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İktisad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el İda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üvenlik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dalet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rita ve Tapu Kadastro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icari Hizm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üzenleyici ve Denetleyici Kur.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Sosyal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çme Suyu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analizas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ırsal Planla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lediye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erleşme-Şehi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Çev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snaf Sanatkar KSS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eknolojik Araştırma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osyal Hizmetler ve Yardım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f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73360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8028447" y="333933"/>
            <a:ext cx="76378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5</a:t>
            </a:r>
          </a:p>
        </p:txBody>
      </p:sp>
    </p:spTree>
    <p:extLst>
      <p:ext uri="{BB962C8B-B14F-4D97-AF65-F5344CB8AC3E}">
        <p14:creationId xmlns:p14="http://schemas.microsoft.com/office/powerpoint/2010/main" val="4060833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148883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85787" y="329361"/>
            <a:ext cx="7474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Koordinasyon Kurulu İçin 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53250"/>
              </p:ext>
            </p:extLst>
          </p:nvPr>
        </p:nvGraphicFramePr>
        <p:xfrm>
          <a:off x="395536" y="916735"/>
          <a:ext cx="8344734" cy="5457143"/>
        </p:xfrm>
        <a:graphic>
          <a:graphicData uri="http://schemas.openxmlformats.org/drawingml/2006/table">
            <a:tbl>
              <a:tblPr/>
              <a:tblGrid>
                <a:gridCol w="1815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9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4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2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Personel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86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Kurum Görevlisinin</a:t>
                      </a:r>
                      <a:r>
                        <a:rPr lang="tr-TR" sz="10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851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2" name="Metin kutusu 11"/>
          <p:cNvSpPr txBox="1"/>
          <p:nvPr/>
        </p:nvSpPr>
        <p:spPr>
          <a:xfrm>
            <a:off x="8047364" y="314381"/>
            <a:ext cx="77310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6</a:t>
            </a:r>
          </a:p>
        </p:txBody>
      </p:sp>
    </p:spTree>
    <p:extLst>
      <p:ext uri="{BB962C8B-B14F-4D97-AF65-F5344CB8AC3E}">
        <p14:creationId xmlns:p14="http://schemas.microsoft.com/office/powerpoint/2010/main" val="1507466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86</TotalTime>
  <Words>751</Words>
  <Application>Microsoft Office PowerPoint</Application>
  <PresentationFormat>Ekran Gösterisi (4:3)</PresentationFormat>
  <Paragraphs>326</Paragraphs>
  <Slides>7</Slides>
  <Notes>2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4" baseType="lpstr">
      <vt:lpstr>Arial</vt:lpstr>
      <vt:lpstr>Arial Tur</vt:lpstr>
      <vt:lpstr>Calibri</vt:lpstr>
      <vt:lpstr>Segoe UI</vt:lpstr>
      <vt:lpstr>Segoe UI Semibold</vt:lpstr>
      <vt:lpstr>Times New Roman</vt:lpstr>
      <vt:lpstr>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ONGULKOZBERI</dc:creator>
  <cp:lastModifiedBy>Vahit CÖMERT</cp:lastModifiedBy>
  <cp:revision>233</cp:revision>
  <cp:lastPrinted>2017-09-05T10:25:42Z</cp:lastPrinted>
  <dcterms:created xsi:type="dcterms:W3CDTF">2013-12-10T10:55:21Z</dcterms:created>
  <dcterms:modified xsi:type="dcterms:W3CDTF">2023-03-20T13:51:31Z</dcterms:modified>
</cp:coreProperties>
</file>